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793" r:id="rId2"/>
    <p:sldId id="795" r:id="rId3"/>
    <p:sldId id="809" r:id="rId4"/>
    <p:sldId id="811" r:id="rId5"/>
    <p:sldId id="810" r:id="rId6"/>
    <p:sldId id="808" r:id="rId7"/>
  </p:sldIdLst>
  <p:sldSz cx="12192000" cy="6858000"/>
  <p:notesSz cx="9926638" cy="6797675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4E4D20E-C466-4F52-A50E-90D808A95C26}">
          <p14:sldIdLst>
            <p14:sldId id="793"/>
            <p14:sldId id="795"/>
            <p14:sldId id="809"/>
            <p14:sldId id="811"/>
            <p14:sldId id="810"/>
            <p14:sldId id="808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29wv" initials="k" lastIdx="0" clrIdx="0">
    <p:extLst>
      <p:ext uri="{19B8F6BF-5375-455C-9EA6-DF929625EA0E}">
        <p15:presenceInfo xmlns:p15="http://schemas.microsoft.com/office/powerpoint/2012/main" userId="kok29w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389"/>
    <a:srgbClr val="D9DADC"/>
    <a:srgbClr val="FFFFFF"/>
    <a:srgbClr val="0052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94" autoAdjust="0"/>
    <p:restoredTop sz="89329" autoAdjust="0"/>
  </p:normalViewPr>
  <p:slideViewPr>
    <p:cSldViewPr snapToGrid="0">
      <p:cViewPr varScale="1">
        <p:scale>
          <a:sx n="64" d="100"/>
          <a:sy n="64" d="100"/>
        </p:scale>
        <p:origin x="948" y="40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>
        <p:scale>
          <a:sx n="66" d="100"/>
          <a:sy n="66" d="100"/>
        </p:scale>
        <p:origin x="8200" y="33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25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de-DE" smtClean="0"/>
              <a:t>25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4EA99FBC-AF00-42B0-BD2A-52752CDF577E}"/>
              </a:ext>
            </a:extLst>
          </p:cNvPr>
          <p:cNvSpPr/>
          <p:nvPr userDrawn="1"/>
        </p:nvSpPr>
        <p:spPr>
          <a:xfrm>
            <a:off x="0" y="-1"/>
            <a:ext cx="12192000" cy="15636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30FB5A2-895E-475E-BE5D-4CBBBCD99371}"/>
              </a:ext>
            </a:extLst>
          </p:cNvPr>
          <p:cNvSpPr/>
          <p:nvPr userDrawn="1"/>
        </p:nvSpPr>
        <p:spPr>
          <a:xfrm>
            <a:off x="0" y="5294381"/>
            <a:ext cx="12192000" cy="15636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5773646-A7EF-41D6-B937-4C20FD9911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00457" y="3850481"/>
            <a:ext cx="3091543" cy="300678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026484" y="1787526"/>
            <a:ext cx="8641516" cy="1431924"/>
          </a:xfrm>
          <a:noFill/>
          <a:ln>
            <a:noFill/>
          </a:ln>
        </p:spPr>
        <p:txBody>
          <a:bodyPr anchor="ctr">
            <a:noAutofit/>
          </a:bodyPr>
          <a:lstStyle>
            <a:lvl1pPr algn="l">
              <a:defRPr sz="3600"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026484" y="3219450"/>
            <a:ext cx="8929864" cy="631031"/>
          </a:xfrm>
        </p:spPr>
        <p:txBody>
          <a:bodyPr>
            <a:normAutofit/>
          </a:bodyPr>
          <a:lstStyle>
            <a:lvl1pPr marL="0" indent="0" algn="l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10668000" y="1787526"/>
            <a:ext cx="288348" cy="1431924"/>
          </a:xfrm>
          <a:prstGeom prst="rect">
            <a:avLst/>
          </a:prstGeom>
          <a:solidFill>
            <a:srgbClr val="004389"/>
          </a:solidFill>
          <a:ln w="12700">
            <a:solidFill>
              <a:srgbClr val="0043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552" y="1787526"/>
            <a:ext cx="1433946" cy="1431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338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71575" y="1800225"/>
            <a:ext cx="7766050" cy="1847850"/>
          </a:xfrm>
        </p:spPr>
        <p:txBody>
          <a:bodyPr anchor="t"/>
          <a:lstStyle>
            <a:lvl1pPr>
              <a:defRPr sz="40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77925" y="3189288"/>
            <a:ext cx="7766050" cy="4587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5"/>
            <a:ext cx="161925" cy="1847850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 userDrawn="1"/>
        </p:nvSpPr>
        <p:spPr>
          <a:xfrm>
            <a:off x="435429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97E1AF6-CF21-7641-ACB0-B8684542D5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11077" y="4482290"/>
            <a:ext cx="2480923" cy="2412904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204AD9-92AA-4506-A7AC-D8A365797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/Thema/Veranstaltungsname – Referent (Ändern über "Einfügen -&gt; Kopf- und Fußzeile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630680"/>
            <a:ext cx="10501800" cy="4501830"/>
          </a:xfrm>
        </p:spPr>
        <p:txBody>
          <a:bodyPr/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2000"/>
            </a:lvl1pPr>
            <a:lvl2pPr>
              <a:buClr>
                <a:srgbClr val="004389"/>
              </a:buClr>
              <a:defRPr/>
            </a:lvl2pPr>
            <a:lvl3pPr marL="1143000" indent="-228600">
              <a:buFont typeface="Symbol" panose="05050102010706020507" pitchFamily="18" charset="2"/>
              <a:buChar char="-"/>
              <a:defRPr/>
            </a:lvl3pPr>
            <a:lvl4pPr marL="1600200" indent="-228600">
              <a:buFont typeface="Symbol" panose="05050102010706020507" pitchFamily="18" charset="2"/>
              <a:buChar char="-"/>
              <a:defRPr sz="1800"/>
            </a:lvl4pPr>
            <a:lvl5pPr marL="2057400" indent="-228600">
              <a:buFont typeface="Symbol" panose="05050102010706020507" pitchFamily="18" charset="2"/>
              <a:buChar char="-"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6F0333C-101F-45D9-BA4B-426CE30D11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/Thema/Veranstaltungsname – Referent (Ändern über "Einfügen -&gt; Kopf- und Fußzeile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0"/>
          </p:nvPr>
        </p:nvSpPr>
        <p:spPr>
          <a:xfrm>
            <a:off x="838200" y="1630681"/>
            <a:ext cx="4914900" cy="4501829"/>
          </a:xfrm>
        </p:spPr>
        <p:txBody>
          <a:bodyPr/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/>
            </a:lvl1pPr>
            <a:lvl2pPr>
              <a:buClr>
                <a:srgbClr val="004389"/>
              </a:buClr>
              <a:defRPr/>
            </a:lvl2pPr>
            <a:lvl3pPr marL="1143000" indent="-228600">
              <a:buFont typeface="Symbol" panose="05050102010706020507" pitchFamily="18" charset="2"/>
              <a:buChar char="-"/>
              <a:defRPr/>
            </a:lvl3pPr>
            <a:lvl4pPr marL="1600200" indent="-228600">
              <a:buFont typeface="Symbol" panose="05050102010706020507" pitchFamily="18" charset="2"/>
              <a:buChar char="-"/>
              <a:defRPr/>
            </a:lvl4pPr>
            <a:lvl5pPr marL="2057400" indent="-228600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1"/>
          </p:nvPr>
        </p:nvSpPr>
        <p:spPr>
          <a:xfrm>
            <a:off x="6172200" y="1630680"/>
            <a:ext cx="5181600" cy="4501829"/>
          </a:xfrm>
        </p:spPr>
        <p:txBody>
          <a:bodyPr/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/>
            </a:lvl1pPr>
            <a:lvl2pPr>
              <a:buClr>
                <a:srgbClr val="004389"/>
              </a:buClr>
              <a:defRPr/>
            </a:lvl2pPr>
            <a:lvl3pPr marL="1143000" indent="-228600">
              <a:buFont typeface="Symbol" panose="05050102010706020507" pitchFamily="18" charset="2"/>
              <a:buChar char="-"/>
              <a:defRPr/>
            </a:lvl3pPr>
            <a:lvl4pPr marL="1600200" indent="-228600">
              <a:buFont typeface="Symbol" panose="05050102010706020507" pitchFamily="18" charset="2"/>
              <a:buChar char="-"/>
              <a:defRPr/>
            </a:lvl4pPr>
            <a:lvl5pPr marL="2057400" indent="-228600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BE8D993-E95F-491F-9987-D09E7E644F2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ECCF36-4CEA-4584-9CDA-A938E1B5BAC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Titel/Thema/Veranstaltungsname – Referent (Ändern über "Einfügen -&gt; Kopf- und Fußzeile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11711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B117B0-BFC5-4E8F-9B94-345EBFE76B1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/Thema/Veranstaltungsname – Referent (Ändern über "Einfügen -&gt; Kopf- und Fußzeile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C7837D6-821C-420E-83D6-7AB2183F9A9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/Thema/Veranstaltungsname – Referent (Ändern über "Einfügen -&gt; Kopf- und Fußzeile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65676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630680"/>
            <a:ext cx="10501800" cy="45018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 w="12700">
            <a:solidFill>
              <a:srgbClr val="0043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0BE8A0-6A29-4B5F-9296-53A67E3A72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78180" y="6464299"/>
            <a:ext cx="697522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Titel/Thema/Veranstaltungsname – Referent (Ändern über "Einfügen -&gt; Kopf- und Fußzeile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4" r:id="rId5"/>
    <p:sldLayoutId id="2147483655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DAC2C7-AABC-4292-B98A-A2E7EE463B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98374" y="1787526"/>
            <a:ext cx="8716617" cy="1431924"/>
          </a:xfrm>
        </p:spPr>
        <p:txBody>
          <a:bodyPr/>
          <a:lstStyle/>
          <a:p>
            <a:r>
              <a:rPr lang="de-DE" sz="2800" dirty="0"/>
              <a:t>Thema </a:t>
            </a:r>
            <a:r>
              <a:rPr lang="de-DE" sz="2800" dirty="0" err="1"/>
              <a:t>xy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4AE35B-3523-4F5B-894F-A693617DAF5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Referent – Datum </a:t>
            </a:r>
          </a:p>
        </p:txBody>
      </p:sp>
    </p:spTree>
    <p:extLst>
      <p:ext uri="{BB962C8B-B14F-4D97-AF65-F5344CB8AC3E}">
        <p14:creationId xmlns:p14="http://schemas.microsoft.com/office/powerpoint/2010/main" val="36405819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1E393D9F-9CD2-45AC-BB1D-76DC6B67B8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35256" y="1700213"/>
            <a:ext cx="10204258" cy="565538"/>
          </a:xfrm>
          <a:prstGeom prst="rect">
            <a:avLst/>
          </a:prstGeom>
          <a:solidFill>
            <a:srgbClr val="D9D9D9">
              <a:lumMod val="100000"/>
            </a:srgb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42875" rIns="0" bIns="1428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25236A-C2D6-4D23-9489-4337F6908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4285C2-D781-4BD7-A593-FE60FF2677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Rechteck 5">
            <a:hlinkClick r:id="" action="ppaction://noaction"/>
            <a:extLst>
              <a:ext uri="{FF2B5EF4-FFF2-40B4-BE49-F238E27FC236}">
                <a16:creationId xmlns:a16="http://schemas.microsoft.com/office/drawing/2014/main" id="{C44D77D1-BC4D-488E-A5E2-4D3BBD427E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89463" y="2974165"/>
            <a:ext cx="5509580" cy="5655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0" bIns="1428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Mann</a:t>
            </a:r>
          </a:p>
        </p:txBody>
      </p:sp>
      <p:sp>
        <p:nvSpPr>
          <p:cNvPr id="7" name="Ellipse 6">
            <a:hlinkClick r:id="" action="ppaction://noaction"/>
            <a:extLst>
              <a:ext uri="{FF2B5EF4-FFF2-40B4-BE49-F238E27FC236}">
                <a16:creationId xmlns:a16="http://schemas.microsoft.com/office/drawing/2014/main" id="{46CD7EA2-FBCF-414C-8AAE-9F18B391F5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52486" y="2974165"/>
            <a:ext cx="565540" cy="56553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50800" cap="flat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85725" bIns="1428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>
                    <a:lumMod val="100000"/>
                  </a:scheme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8" name="Rechteck 7">
            <a:hlinkClick r:id="" action="ppaction://noaction"/>
            <a:extLst>
              <a:ext uri="{FF2B5EF4-FFF2-40B4-BE49-F238E27FC236}">
                <a16:creationId xmlns:a16="http://schemas.microsoft.com/office/drawing/2014/main" id="{1D51FAB0-0D68-4400-AB25-55A31E85703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89463" y="2337189"/>
            <a:ext cx="5509580" cy="5655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0" bIns="1428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Muster</a:t>
            </a:r>
          </a:p>
        </p:txBody>
      </p:sp>
      <p:sp>
        <p:nvSpPr>
          <p:cNvPr id="9" name="Ellipse 8">
            <a:hlinkClick r:id="" action="ppaction://noaction"/>
            <a:extLst>
              <a:ext uri="{FF2B5EF4-FFF2-40B4-BE49-F238E27FC236}">
                <a16:creationId xmlns:a16="http://schemas.microsoft.com/office/drawing/2014/main" id="{4FF74295-BAAB-4F49-9059-E5D60F20437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52486" y="2337189"/>
            <a:ext cx="565540" cy="56553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50800" cap="flat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85725" bIns="1428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>
                    <a:lumMod val="100000"/>
                  </a:schemeClr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1" name="Rechteck 10">
            <a:hlinkClick r:id="" action="ppaction://noaction"/>
            <a:extLst>
              <a:ext uri="{FF2B5EF4-FFF2-40B4-BE49-F238E27FC236}">
                <a16:creationId xmlns:a16="http://schemas.microsoft.com/office/drawing/2014/main" id="{0F452038-0B46-43D1-A0E9-36CC79644F9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89463" y="1700213"/>
            <a:ext cx="5509580" cy="5655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0" bIns="1428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Max</a:t>
            </a:r>
          </a:p>
        </p:txBody>
      </p:sp>
      <p:sp>
        <p:nvSpPr>
          <p:cNvPr id="12" name="Ellipse 11">
            <a:hlinkClick r:id="" action="ppaction://noaction"/>
            <a:extLst>
              <a:ext uri="{FF2B5EF4-FFF2-40B4-BE49-F238E27FC236}">
                <a16:creationId xmlns:a16="http://schemas.microsoft.com/office/drawing/2014/main" id="{7B22567B-2544-464F-9D59-95077DAB987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52486" y="1700213"/>
            <a:ext cx="565540" cy="565538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50800" cap="flat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85725" bIns="1428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chemeClr val="bg1">
                    <a:lumMod val="100000"/>
                  </a:schemeClr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AAE99998-BB87-4249-9C08-427655E797F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Titel/Thema/Veranstaltungsname – Referent (Ändern über "Einfügen -&gt; Kopf- und Fußzeile")</a:t>
            </a:r>
          </a:p>
        </p:txBody>
      </p:sp>
      <p:sp>
        <p:nvSpPr>
          <p:cNvPr id="13" name="Ellipse 12">
            <a:hlinkClick r:id="" action="ppaction://noaction"/>
            <a:extLst>
              <a:ext uri="{FF2B5EF4-FFF2-40B4-BE49-F238E27FC236}">
                <a16:creationId xmlns:a16="http://schemas.microsoft.com/office/drawing/2014/main" id="{E7A8D195-F44A-4AFC-8057-311B13AC734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52486" y="3611141"/>
            <a:ext cx="565540" cy="56553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50800" cap="flat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85725" bIns="1428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>
                    <a:lumMod val="100000"/>
                  </a:schemeClr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5" name="Rechteck 14">
            <a:hlinkClick r:id="" action="ppaction://noaction"/>
            <a:extLst>
              <a:ext uri="{FF2B5EF4-FFF2-40B4-BE49-F238E27FC236}">
                <a16:creationId xmlns:a16="http://schemas.microsoft.com/office/drawing/2014/main" id="{C1672257-62A7-43C9-8FEC-8068102EBB7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89463" y="3611140"/>
            <a:ext cx="5509580" cy="5655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0" bIns="1428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…</a:t>
            </a:r>
            <a:r>
              <a:rPr lang="en-US" b="1" dirty="0" err="1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usw</a:t>
            </a:r>
            <a:endParaRPr lang="en-US" b="1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7350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5DB8C1-FD24-4E02-A0E3-FCD13B4CD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43ED65-F553-4597-AB41-F84CD31154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105604F-3333-4F1E-9ECD-E85106AA3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51F4688-55CF-47A1-988D-8CB5C10325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/Thema/Veranstaltungsname – Referent (Ändern über "Einfügen -&gt; Kopf- und Fußzeile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3098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1E393D9F-9CD2-45AC-BB1D-76DC6B67B8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78180" y="2337187"/>
            <a:ext cx="10204258" cy="565538"/>
          </a:xfrm>
          <a:prstGeom prst="rect">
            <a:avLst/>
          </a:prstGeom>
          <a:solidFill>
            <a:srgbClr val="D9D9D9">
              <a:lumMod val="100000"/>
            </a:srgb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42875" rIns="0" bIns="1428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25236A-C2D6-4D23-9489-4337F6908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4285C2-D781-4BD7-A593-FE60FF2677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Rechteck 5">
            <a:hlinkClick r:id="" action="ppaction://noaction"/>
            <a:extLst>
              <a:ext uri="{FF2B5EF4-FFF2-40B4-BE49-F238E27FC236}">
                <a16:creationId xmlns:a16="http://schemas.microsoft.com/office/drawing/2014/main" id="{C44D77D1-BC4D-488E-A5E2-4D3BBD427E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89463" y="2974165"/>
            <a:ext cx="5509580" cy="5655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0" bIns="1428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Mann</a:t>
            </a:r>
          </a:p>
        </p:txBody>
      </p:sp>
      <p:sp>
        <p:nvSpPr>
          <p:cNvPr id="7" name="Ellipse 6">
            <a:hlinkClick r:id="" action="ppaction://noaction"/>
            <a:extLst>
              <a:ext uri="{FF2B5EF4-FFF2-40B4-BE49-F238E27FC236}">
                <a16:creationId xmlns:a16="http://schemas.microsoft.com/office/drawing/2014/main" id="{46CD7EA2-FBCF-414C-8AAE-9F18B391F5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52486" y="2974165"/>
            <a:ext cx="565540" cy="56553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50800" cap="flat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85725" bIns="1428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>
                    <a:lumMod val="100000"/>
                  </a:scheme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8" name="Rechteck 7">
            <a:hlinkClick r:id="" action="ppaction://noaction"/>
            <a:extLst>
              <a:ext uri="{FF2B5EF4-FFF2-40B4-BE49-F238E27FC236}">
                <a16:creationId xmlns:a16="http://schemas.microsoft.com/office/drawing/2014/main" id="{1D51FAB0-0D68-4400-AB25-55A31E85703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89463" y="2337189"/>
            <a:ext cx="5509580" cy="5655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0" bIns="1428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Muster</a:t>
            </a:r>
          </a:p>
        </p:txBody>
      </p:sp>
      <p:sp>
        <p:nvSpPr>
          <p:cNvPr id="9" name="Ellipse 8">
            <a:hlinkClick r:id="" action="ppaction://noaction"/>
            <a:extLst>
              <a:ext uri="{FF2B5EF4-FFF2-40B4-BE49-F238E27FC236}">
                <a16:creationId xmlns:a16="http://schemas.microsoft.com/office/drawing/2014/main" id="{4FF74295-BAAB-4F49-9059-E5D60F20437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52486" y="2337189"/>
            <a:ext cx="565540" cy="56553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50800" cap="flat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85725" bIns="1428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>
                    <a:lumMod val="100000"/>
                  </a:schemeClr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1" name="Rechteck 10">
            <a:hlinkClick r:id="" action="ppaction://noaction"/>
            <a:extLst>
              <a:ext uri="{FF2B5EF4-FFF2-40B4-BE49-F238E27FC236}">
                <a16:creationId xmlns:a16="http://schemas.microsoft.com/office/drawing/2014/main" id="{0F452038-0B46-43D1-A0E9-36CC79644F9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89463" y="1700213"/>
            <a:ext cx="5509580" cy="5655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0" bIns="1428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Max</a:t>
            </a:r>
          </a:p>
        </p:txBody>
      </p:sp>
      <p:sp>
        <p:nvSpPr>
          <p:cNvPr id="12" name="Ellipse 11">
            <a:hlinkClick r:id="" action="ppaction://noaction"/>
            <a:extLst>
              <a:ext uri="{FF2B5EF4-FFF2-40B4-BE49-F238E27FC236}">
                <a16:creationId xmlns:a16="http://schemas.microsoft.com/office/drawing/2014/main" id="{7B22567B-2544-464F-9D59-95077DAB987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52486" y="1700213"/>
            <a:ext cx="565540" cy="565538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50800" cap="flat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85725" bIns="1428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chemeClr val="bg1">
                    <a:lumMod val="100000"/>
                  </a:schemeClr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AAE99998-BB87-4249-9C08-427655E797F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Titel/Thema/Veranstaltungsname – Referent (Ändern über "Einfügen -&gt; Kopf- und Fußzeile")</a:t>
            </a:r>
          </a:p>
        </p:txBody>
      </p:sp>
      <p:sp>
        <p:nvSpPr>
          <p:cNvPr id="13" name="Ellipse 12">
            <a:hlinkClick r:id="" action="ppaction://noaction"/>
            <a:extLst>
              <a:ext uri="{FF2B5EF4-FFF2-40B4-BE49-F238E27FC236}">
                <a16:creationId xmlns:a16="http://schemas.microsoft.com/office/drawing/2014/main" id="{E7A8D195-F44A-4AFC-8057-311B13AC734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52486" y="3611141"/>
            <a:ext cx="565540" cy="56553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50800" cap="flat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85725" bIns="1428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>
                    <a:lumMod val="100000"/>
                  </a:schemeClr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5" name="Rechteck 14">
            <a:hlinkClick r:id="" action="ppaction://noaction"/>
            <a:extLst>
              <a:ext uri="{FF2B5EF4-FFF2-40B4-BE49-F238E27FC236}">
                <a16:creationId xmlns:a16="http://schemas.microsoft.com/office/drawing/2014/main" id="{C1672257-62A7-43C9-8FEC-8068102EBB7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89463" y="3611140"/>
            <a:ext cx="5509580" cy="5655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725" tIns="142875" rIns="0" bIns="1428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…</a:t>
            </a:r>
            <a:r>
              <a:rPr lang="en-US" b="1" dirty="0" err="1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usw</a:t>
            </a:r>
            <a:endParaRPr lang="en-US" b="1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88575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82295C-CB77-4E76-BFA9-57C092202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B3717A2-F0F0-4EA4-BA5D-4DE6449D0B82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0107231-F486-4C57-BD0C-61A9B4971CFF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56D982-77E1-437A-B5A6-C13108D0553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BE8D993-E95F-491F-9987-D09E7E644F2F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09E3AB8-B655-4B88-A163-42FC79D2E3E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Titel/Thema/Veranstaltungsname – Referent (Ändern über "Einfügen -&gt; Kopf- und Fußzeile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65409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21">
            <a:extLst>
              <a:ext uri="{FF2B5EF4-FFF2-40B4-BE49-F238E27FC236}">
                <a16:creationId xmlns:a16="http://schemas.microsoft.com/office/drawing/2014/main" id="{0A0D0A07-6304-4F68-9766-54427F626B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63750" y="1969155"/>
            <a:ext cx="4032250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Lucida Grande" charset="0"/>
              <a:buChar char="□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Lucida Grande" charset="0"/>
              <a:buChar char="□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Lucida Grande" charset="0"/>
              <a:buChar char="□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1400" b="1" dirty="0"/>
              <a:t>KONTAKT</a:t>
            </a:r>
            <a:endParaRPr lang="de-DE" altLang="de-DE" sz="1200" dirty="0"/>
          </a:p>
          <a:p>
            <a:pPr eaLnBrk="1" hangingPunct="1">
              <a:spcBef>
                <a:spcPct val="0"/>
              </a:spcBef>
              <a:buFontTx/>
              <a:buNone/>
            </a:pPr>
            <a:endParaRPr lang="de-DE" altLang="de-DE" sz="1200" dirty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1200" dirty="0"/>
              <a:t>Max Mustermann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1200" dirty="0"/>
              <a:t>Musterstraße 100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1200" dirty="0"/>
              <a:t>00000 Musterstadt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F09D3D7-5DC1-4142-B06C-3A7F62A621F8}"/>
              </a:ext>
            </a:extLst>
          </p:cNvPr>
          <p:cNvSpPr/>
          <p:nvPr/>
        </p:nvSpPr>
        <p:spPr>
          <a:xfrm>
            <a:off x="10541000" y="1625600"/>
            <a:ext cx="809625" cy="203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923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173.7692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Motiva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Building an Image Recognition Application&quot; agendaSlideId=&quot;54b181dd-779d-49ad-b71c-0d824b6ce194&quot; /&gt;&lt;item duration=&quot;30&quot; id=&quot;fdd4148a-7990-4159-a54e-7a964b8f1997&quot; parentId=&quot;ca0844e6-7e3b-4da0-b6c5-e35c240dcdd5&quot; level=&quot;2&quot; generateAgendaSlide=&quot;1&quot; showAgendaItem=&quot;1&quot; isBreak=&quot;0&quot; topic=&quot;Defining the Task&quot; agendaSlideId=&quot;5650935f-7705-4ee6-a20a-f548c292d795&quot; /&gt;&lt;item duration=&quot;30&quot; id=&quot;15f1d1b4-f72b-44eb-9ba3-b598f4eab870&quot; parentId=&quot;ca0844e6-7e3b-4da0-b6c5-e35c240dcdd5&quot; level=&quot;2&quot; generateAgendaSlide=&quot;1&quot; showAgendaItem=&quot;1&quot; isBreak=&quot;0&quot; topic=&quot;Composing the Neural Network&quot; agendaSlideId=&quot;ecd92929-a474-4049-9d0f-a6e536c9156a&quot; /&gt;&lt;item duration=&quot;30&quot; id=&quot;2aafa558-519b-4a57-b970-890fb4eec47b&quot; parentId=&quot;ca0844e6-7e3b-4da0-b6c5-e35c240dcdd5&quot; level=&quot;2&quot; generateAgendaSlide=&quot;1&quot; showAgendaItem=&quot;1&quot; isBreak=&quot;0&quot; topic=&quot;Training Strategy&quot; agendaSlideId=&quot;1c34245d-a62f-469e-a987-983a00000045&quot; /&gt;&lt;item duration=&quot;30&quot; id=&quot;a63ddce6-b5b1-4e49-80e5-4a4af45bda54&quot; parentId=&quot;ca0844e6-7e3b-4da0-b6c5-e35c240dcdd5&quot; level=&quot;2&quot; generateAgendaSlide=&quot;1&quot; showAgendaItem=&quot;1&quot; isBreak=&quot;0&quot; topic=&quot;Communication and Tools&quot; agendaSlideId=&quot;d9a30c73-7934-443d-9265-555dad336813&quot; /&gt;&lt;item duration=&quot;30&quot; id=&quot;70a0e527-f86c-4141-ab39-cfcc7cedb5c8&quot; parentId=&quot;&quot; level=&quot;1&quot; generateAgendaSlide=&quot;1&quot; showAgendaItem=&quot;1&quot; isBreak=&quot;0&quot; topic=&quot;Conclusion and Outlook&quot; agendaSlideId=&quot;9145189b-462c-4204-ab75-098326eb84b6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145189b-462c-4204-ab75-098326eb84b6_Topic"/>
  <p:tag name="EE4P_AGENDAWIZARD_CONTENT" val="/Conclusion and Outlook"/>
  <p:tag name="EE4P_AGENDAWIZARD_PROPERTIES" val="81.28071/234.1862/433.8252/44.5306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53e7d98-fb91-4b4a-868c-b4530f29ac09_Elemen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145189b-462c-4204-ab75-098326eb84b6_Topic"/>
  <p:tag name="EE4P_AGENDAWIZARD_CONTENT" val="/Conclusion and Outlook"/>
  <p:tag name="EE4P_AGENDAWIZARD_PROPERTIES" val="81.28071/234.1862/433.8252/44.5306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145189b-462c-4204-ab75-098326eb84b6_ItemNo"/>
  <p:tag name="EE4P_AGENDAWIZARD_CONTENT" val="/3"/>
  <p:tag name="EE4P_AGENDAWIZARD_PROPERTIES" val="31.12504/234.1862/44.53071/44.5306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4b181dd-779d-49ad-b71c-0d824b6ce194_Topic"/>
  <p:tag name="EE4P_AGENDAWIZARD_CONTENT" val="/Building an Image Recognition Application"/>
  <p:tag name="EE4P_AGENDAWIZARD_PROPERTIES" val="81.28071/184.0306/433.8252/44.5306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4b181dd-779d-49ad-b71c-0d824b6ce194_ItemNo"/>
  <p:tag name="EE4P_AGENDAWIZARD_CONTENT" val="/2"/>
  <p:tag name="EE4P_AGENDAWIZARD_PROPERTIES" val="31.12504/184.0306/44.53071/44.5306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53e7d98-fb91-4b4a-868c-b4530f29ac09_Topic"/>
  <p:tag name="EE4P_AGENDAWIZARD_CONTENT" val="/Motivation"/>
  <p:tag name="EE4P_AGENDAWIZARD_PROPERTIES" val="81.28071/133.875/433.8252/44.5305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53e7d98-fb91-4b4a-868c-b4530f29ac09_ItemNo"/>
  <p:tag name="EE4P_AGENDAWIZARD_CONTENT" val="/1"/>
  <p:tag name="EE4P_AGENDAWIZARD_PROPERTIES" val="31.12504/133.875/44.53071/44.5305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145189b-462c-4204-ab75-098326eb84b6_ItemNo"/>
  <p:tag name="EE4P_AGENDAWIZARD_CONTENT" val="/3"/>
  <p:tag name="EE4P_AGENDAWIZARD_PROPERTIES" val="31.12504/234.1862/44.53071/44.5306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145189b-462c-4204-ab75-098326eb84b6_Topic"/>
  <p:tag name="EE4P_AGENDAWIZARD_CONTENT" val="/Conclusion and Outlook"/>
  <p:tag name="EE4P_AGENDAWIZARD_PROPERTIES" val="81.28071/234.1862/433.8252/44.5306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53e7d98-fb91-4b4a-868c-b4530f29ac09_Elemen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145189b-462c-4204-ab75-098326eb84b6_Topic"/>
  <p:tag name="EE4P_AGENDAWIZARD_CONTENT" val="/Conclusion and Outlook"/>
  <p:tag name="EE4P_AGENDAWIZARD_PROPERTIES" val="81.28071/234.1862/433.8252/44.5306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145189b-462c-4204-ab75-098326eb84b6_ItemNo"/>
  <p:tag name="EE4P_AGENDAWIZARD_CONTENT" val="/3"/>
  <p:tag name="EE4P_AGENDAWIZARD_PROPERTIES" val="31.12504/234.1862/44.53071/44.5306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4b181dd-779d-49ad-b71c-0d824b6ce194_Topic"/>
  <p:tag name="EE4P_AGENDAWIZARD_CONTENT" val="/Building an Image Recognition Application"/>
  <p:tag name="EE4P_AGENDAWIZARD_PROPERTIES" val="81.28071/184.0306/433.8252/44.5306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4b181dd-779d-49ad-b71c-0d824b6ce194_ItemNo"/>
  <p:tag name="EE4P_AGENDAWIZARD_CONTENT" val="/2"/>
  <p:tag name="EE4P_AGENDAWIZARD_PROPERTIES" val="31.12504/184.0306/44.53071/44.5306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53e7d98-fb91-4b4a-868c-b4530f29ac09_Topic"/>
  <p:tag name="EE4P_AGENDAWIZARD_CONTENT" val="/Motivation"/>
  <p:tag name="EE4P_AGENDAWIZARD_PROPERTIES" val="81.28071/133.875/433.8252/44.5305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53e7d98-fb91-4b4a-868c-b4530f29ac09_ItemNo"/>
  <p:tag name="EE4P_AGENDAWIZARD_CONTENT" val="/1"/>
  <p:tag name="EE4P_AGENDAWIZARD_PROPERTIES" val="31.12504/133.875/44.53071/44.5305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145189b-462c-4204-ab75-098326eb84b6_ItemNo"/>
  <p:tag name="EE4P_AGENDAWIZARD_CONTENT" val="/3"/>
  <p:tag name="EE4P_AGENDAWIZARD_PROPERTIES" val="31.12504/234.1862/44.53071/44.53063"/>
</p:tagLst>
</file>

<file path=ppt/theme/theme1.xml><?xml version="1.0" encoding="utf-8"?>
<a:theme xmlns:a="http://schemas.openxmlformats.org/drawingml/2006/main" name="Office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I_2019new" id="{B0522339-61DB-4FFC-8147-8C9A390887E5}" vid="{812D3036-2B45-4982-9CD2-A864487E86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4</Words>
  <Application>Microsoft Office PowerPoint</Application>
  <PresentationFormat>Breitbild</PresentationFormat>
  <Paragraphs>33</Paragraphs>
  <Slides>6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Arial</vt:lpstr>
      <vt:lpstr>Calibri</vt:lpstr>
      <vt:lpstr>Symbol</vt:lpstr>
      <vt:lpstr>Wingdings</vt:lpstr>
      <vt:lpstr>Office</vt:lpstr>
      <vt:lpstr>Thema xy</vt:lpstr>
      <vt:lpstr>Agenda</vt:lpstr>
      <vt:lpstr>PowerPoint-Präsentation</vt:lpstr>
      <vt:lpstr>Agenda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stellung des Lehrstuhls für BWL und Wirtschaftsinformatik Prof. Dr. Axel Winkelmann</dc:title>
  <dc:creator>fag78yk</dc:creator>
  <cp:lastModifiedBy>Anna Fuchs</cp:lastModifiedBy>
  <cp:revision>15</cp:revision>
  <dcterms:created xsi:type="dcterms:W3CDTF">2019-03-15T13:23:56Z</dcterms:created>
  <dcterms:modified xsi:type="dcterms:W3CDTF">2019-07-25T11:30:52Z</dcterms:modified>
</cp:coreProperties>
</file>